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1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513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D1F-4C75-921A-487EFBB8D68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C75-921A-487EFBB8D68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C75-921A-487EFBB8D6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5011600"/>
        <c:axId val="595013040"/>
      </c:lineChart>
      <c:catAx>
        <c:axId val="595011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5013040"/>
        <c:crosses val="autoZero"/>
        <c:auto val="1"/>
        <c:lblAlgn val="ctr"/>
        <c:lblOffset val="100"/>
        <c:noMultiLvlLbl val="0"/>
      </c:catAx>
      <c:valAx>
        <c:axId val="5950130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5011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157C4D19-0FC1-450C-815A-53E65F58DE0A}">
          <cx:tx>
            <cx:txData>
              <cx:f>Sheet1!$B$1</cx:f>
              <cx:v>Series1</cx:v>
            </cx:txData>
          </cx:tx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/>
            </a:pPr>
            <a:endParaRPr lang="en-US" sz="1197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  <cx:axis id="1">
        <cx:val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400"/>
            </a:pPr>
            <a:endParaRPr lang="en-US" sz="1400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400"/>
          </a:pPr>
          <a:endParaRPr lang="en-US" sz="1400" b="0" i="0" u="none" strike="noStrike" baseline="0">
            <a:solidFill>
              <a:prstClr val="black">
                <a:lumMod val="65000"/>
                <a:lumOff val="35000"/>
              </a:prstClr>
            </a:solidFill>
            <a:latin typeface="Arial"/>
          </a:endParaRPr>
        </a:p>
      </cx:txPr>
    </cx:legend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image" Target="../media/image40.png"/><Relationship Id="rId5" Type="http://schemas.microsoft.com/office/2014/relationships/chartEx" Target="../charts/chartEx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3611CA-8E69-6F51-CD45-CB78FDF0EE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BF3468-7685-653F-2821-AD0332A8A8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BF3468-7685-653F-2821-AD0332A8A8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DF77EBE0-6844-9719-F001-805377DD12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Waterfall / Stacked Line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FA05C724-F1CC-DEDE-ADDE-C14E3F28E6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B1FE5E0D-7EA2-8CBD-84C0-3FDE3CD482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2A3A143E-04BD-6F00-6397-DC76B487C5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00FFE904-288E-0B03-2077-02F7B260DC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7" name="Chart Placeholder 5">
                <a:extLst>
                  <a:ext uri="{FF2B5EF4-FFF2-40B4-BE49-F238E27FC236}">
                    <a16:creationId xmlns:a16="http://schemas.microsoft.com/office/drawing/2014/main" id="{5DB84152-1F82-633E-9C87-7A098927FD0C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5245100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7" name="Chart Placeholder 5">
                <a:extLst>
                  <a:ext uri="{FF2B5EF4-FFF2-40B4-BE49-F238E27FC236}">
                    <a16:creationId xmlns:a16="http://schemas.microsoft.com/office/drawing/2014/main" id="{5DB84152-1F82-633E-9C87-7A098927FD0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54038" y="1720850"/>
                <a:ext cx="5245100" cy="4456113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5" name="Chart Placeholder 7">
            <a:extLst>
              <a:ext uri="{FF2B5EF4-FFF2-40B4-BE49-F238E27FC236}">
                <a16:creationId xmlns:a16="http://schemas.microsoft.com/office/drawing/2014/main" id="{B40ADEDA-B2B1-8B22-F21E-867232FE0A9F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34391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7</TotalTime>
  <Words>2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Waterfall / Stacked Li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82</cp:revision>
  <dcterms:created xsi:type="dcterms:W3CDTF">2025-07-09T10:57:17Z</dcterms:created>
  <dcterms:modified xsi:type="dcterms:W3CDTF">2025-10-22T10:11:53Z</dcterms:modified>
  <cp:category/>
</cp:coreProperties>
</file>